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olors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EC844A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EC844A"/>
      </a:hlink>
      <a:folHlink>
        <a:srgbClr val="EC844A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anchor="ctr" anchorCtr="0" bIns="91440" compatLnSpc="1" forceAA="0" fromWordArt="0" horzOverflow="overflow" lIns="91440" numCol="1" rIns="91440" rot="0" rtlCol="0" spcCol="0" spcFirstLastPara="0" tIns="91440" vert="horz" vertOverflow="overflow" wrap="square">
        <a:prstTxWarp prst="textNoShape">
          <a:avLst/>
        </a:prstTxWarp>
        <a:noAutofit/>
      </a:bodyPr>
      <a:lstStyle>
        <a:defPPr algn="ctr">
          <a:buClr>
            <a:schemeClr val="bg1"/>
          </a:buClr>
          <a:defRPr b="1" dirty="0" sz="110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3949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bIns="0" lIns="0" rIns="0" rtlCol="0" tIns="0" wrap="square">
        <a:spAutoFit/>
      </a:bodyPr>
      <a:lstStyle>
        <a:defPPr algn="l">
          <a:spcBef>
            <a:spcPts val="600"/>
          </a:spcBef>
          <a:buClrTx/>
          <a:defRPr dirty="0" err="1" smtClean="0" sz="1000">
            <a:latin typeface="+mn-lt"/>
          </a:defRPr>
        </a:defPPr>
      </a:lstStyle>
    </a:txDef>
  </a:objectDefaults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  <a:custClr name="">
      <a:srgbClr val="FFFFFF"/>
    </a:custClr>
    <a:custClr name="">
      <a:srgbClr val="FFFFFF"/>
    </a:custClr>
    <a:custClr name="">
      <a:srgbClr val="83C460"/>
    </a:custClr>
    <a:custClr name="">
      <a:srgbClr val="E84057"/>
    </a:custClr>
    <a:custClr name="">
      <a:srgbClr val="E8C64D"/>
    </a:custClr>
    <a:custClr name="">
      <a:srgbClr val="FFFFFF"/>
    </a:custClr>
    <a:custClr name="">
      <a:srgbClr val="FFFFFF"/>
    </a:custClr>
    <a:custClr name="">
      <a:srgbClr val="D34F8E"/>
    </a:custClr>
    <a:custClr name="yarrr">
      <a:srgbClr val="215423"/>
    </a:custClr>
  </a:custClrLst>
  <a:extLst>
    <a:ext uri="{05A4C25C-085E-4340-85A3-A5531E510DB2}">
      <thm15:themeFamily xmlns:thm15="http://schemas.microsoft.com/office/thememl/2012/main" id="{44C126EE-B01F-4EF3-A011-545264B485BF}" name="template.potx" vid="{38753D0D-B88A-4755-988D-289221B3E141}"/>
    </a:ext>
  </a:extLst>
</a:the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algn="ctr" cap="flat" cmpd="sng" w="6350">
          <a:solidFill>
            <a:schemeClr val="phClr"/>
          </a:solidFill>
          <a:prstDash val="solid"/>
          <a:miter lim="800000"/>
        </a:ln>
        <a:ln algn="ctr" cap="flat" cmpd="sng" w="12700">
          <a:solidFill>
            <a:schemeClr val="phClr"/>
          </a:solidFill>
          <a:prstDash val="solid"/>
          <a:miter lim="800000"/>
        </a:ln>
        <a:ln algn="ctr" cap="flat" cmpd="sng" w="19050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">
      <a:srgbClr val="EC844A"/>
    </a:custClr>
    <a:custClr name="">
      <a:srgbClr val="ABD654"/>
    </a:custClr>
    <a:custClr name="">
      <a:srgbClr val="5A6D78"/>
    </a:custClr>
    <a:custClr name="">
      <a:srgbClr val="AAA299"/>
    </a:custClr>
    <a:custClr name="">
      <a:srgbClr val="60B465"/>
    </a:custClr>
    <a:custClr name="">
      <a:srgbClr val="5DB4DC"/>
    </a:custClr>
    <a:custClr name="">
      <a:srgbClr val="2B5192"/>
    </a:custClr>
    <a:custClr name="">
      <a:srgbClr val="346E70"/>
    </a:custClr>
    <a:custClr name="">
      <a:srgbClr val="786E64"/>
    </a:custClr>
    <a:custClr name="">
      <a:srgbClr val="7DA442"/>
    </a:custClr>
    <a:custClr name="">
      <a:srgbClr val="38763B"/>
    </a:custClr>
    <a:custClr name="">
      <a:srgbClr val="708894"/>
    </a:custClr>
    <a:custClr name="">
      <a:srgbClr val="C0BBB5"/>
    </a:custClr>
    <a:custClr name="">
      <a:srgbClr val="82C486"/>
    </a:custClr>
    <a:custClr name="">
      <a:srgbClr val="86C7E5"/>
    </a:custClr>
    <a:custClr name="">
      <a:srgbClr val="436FBA"/>
    </a:custClr>
    <a:custClr name="">
      <a:srgbClr val="7AC0C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000000"/>
    </a:custClr>
    <a:custClr name="">
      <a:srgbClr val="2B2D2C"/>
    </a:custClr>
    <a:custClr name="">
      <a:srgbClr val="939494"/>
    </a:custClr>
    <a:custClr name="">
      <a:srgbClr val="C7C7C5"/>
    </a:custClr>
    <a:custClr name="">
      <a:srgbClr val="F0F0F0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FFFFFF"/>
    </a:custClr>
    <a:custClr name="">
      <a:srgbClr val="56AEB1"/>
    </a:custClr>
    <a:custClr name="">
      <a:srgbClr val="755BBA"/>
    </a:custClr>
    <a:custClr name="">
      <a:srgbClr val="FFFFFF"/>
    </a:custClr>
    <a:custClr name="">
      <a:srgbClr val="FFFFFF"/>
    </a:custClr>
    <a:custClr name="">
      <a:srgbClr val="83C460"/>
    </a:custClr>
    <a:custClr name="">
      <a:srgbClr val="E84057"/>
    </a:custClr>
    <a:custClr name="">
      <a:srgbClr val="E8C64D"/>
    </a:custClr>
    <a:custClr name="">
      <a:srgbClr val="FFFFFF"/>
    </a:custClr>
    <a:custClr name="">
      <a:srgbClr val="FFFFFF"/>
    </a:custClr>
    <a:custClr name="">
      <a:srgbClr val="D34F8E"/>
    </a:custClr>
    <a:custClr name="yarrr">
      <a:srgbClr val="215423"/>
    </a:custClr>
  </a:custClrLst>
  <a:extLst>
    <a:ext uri="{05A4C25C-085E-4340-85A3-A5531E510DB2}">
      <thm15:themeFamily xmlns:thm15="http://schemas.microsoft.com/office/thememl/2012/main" id="{62F939B6-93AF-4DB8-9C6B-D6C7DFDC589F}" name="Office Theme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